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73" r:id="rId2"/>
    <p:sldId id="274" r:id="rId3"/>
    <p:sldId id="283" r:id="rId4"/>
    <p:sldId id="284" r:id="rId5"/>
    <p:sldId id="285" r:id="rId6"/>
    <p:sldId id="286" r:id="rId7"/>
    <p:sldId id="275" r:id="rId8"/>
    <p:sldId id="276" r:id="rId9"/>
    <p:sldId id="277" r:id="rId10"/>
    <p:sldId id="278" r:id="rId11"/>
    <p:sldId id="280" r:id="rId12"/>
    <p:sldId id="279" r:id="rId13"/>
    <p:sldId id="281" r:id="rId14"/>
    <p:sldId id="282" r:id="rId15"/>
    <p:sldId id="266" r:id="rId16"/>
    <p:sldId id="287" r:id="rId17"/>
    <p:sldId id="289" r:id="rId18"/>
    <p:sldId id="267" r:id="rId19"/>
    <p:sldId id="290" r:id="rId20"/>
    <p:sldId id="264" r:id="rId21"/>
    <p:sldId id="291" r:id="rId22"/>
    <p:sldId id="292" r:id="rId23"/>
    <p:sldId id="293" r:id="rId2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rgbClr val="00000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rgbClr val="00000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rgbClr val="00000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111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005C617-12ED-41A2-AA21-9FBA39B6EAB2}" type="presOf" srcId="{F014B99B-BC0F-4D51-AA35-03139CBC5BDF}" destId="{47753778-DDCD-4F66-8671-0963E55AC1AB}" srcOrd="0" destOrd="0" presId="urn:microsoft.com/office/officeart/2005/8/layout/pyramid1"/>
    <dgm:cxn modelId="{3E1021A3-E51B-40BD-BFFF-7C4BC491BCC4}" type="presOf" srcId="{C055D918-0D48-44D3-9287-CAE1B93EB64A}" destId="{8C222443-D6D5-437E-8A06-7845FF64044F}" srcOrd="0" destOrd="0" presId="urn:microsoft.com/office/officeart/2005/8/layout/pyramid1"/>
    <dgm:cxn modelId="{CC3875C3-7ABF-4939-8672-4D99F3FE9E7A}" type="presOf" srcId="{CBB2EDB4-08BF-49DB-9282-C363CE23E3D0}" destId="{7099C5AD-A666-455F-9144-31509FAE35FB}" srcOrd="0" destOrd="0" presId="urn:microsoft.com/office/officeart/2005/8/layout/pyramid1"/>
    <dgm:cxn modelId="{4A3E0C56-C98E-4DD8-BC2D-9363EF5B5652}" type="presOf" srcId="{CBB2EDB4-08BF-49DB-9282-C363CE23E3D0}" destId="{8064A9E2-4365-4891-A563-4210D9FE6047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ADF732B4-D986-4728-8035-ECAC60AEB50F}" type="presOf" srcId="{8380A261-4409-4C6B-8A07-0D64C5422F6D}" destId="{EB789FCB-B92C-4A52-BB06-4A95FA62001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B5BFC829-9D45-4B2C-B679-B7CDFD72881F}" type="presOf" srcId="{8380A261-4409-4C6B-8A07-0D64C5422F6D}" destId="{3405B94A-B110-4EB0-B99D-680A85764021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2AB59174-D347-43C5-B7D4-9B2CEBE48BFC}" type="presOf" srcId="{F014B99B-BC0F-4D51-AA35-03139CBC5BDF}" destId="{158BBE6D-1C8E-4142-827F-B1B32D20364B}" srcOrd="1" destOrd="0" presId="urn:microsoft.com/office/officeart/2005/8/layout/pyramid1"/>
    <dgm:cxn modelId="{C01F8414-CD10-496D-ACF3-5CFF21736104}" type="presParOf" srcId="{8C222443-D6D5-437E-8A06-7845FF64044F}" destId="{8E592AC7-B094-488F-86DE-8B46AA43A5F7}" srcOrd="0" destOrd="0" presId="urn:microsoft.com/office/officeart/2005/8/layout/pyramid1"/>
    <dgm:cxn modelId="{3116E4F8-2D23-42BE-BDA0-B60C2833718F}" type="presParOf" srcId="{8E592AC7-B094-488F-86DE-8B46AA43A5F7}" destId="{47753778-DDCD-4F66-8671-0963E55AC1AB}" srcOrd="0" destOrd="0" presId="urn:microsoft.com/office/officeart/2005/8/layout/pyramid1"/>
    <dgm:cxn modelId="{4D0F8871-B6C1-47F9-9082-89BDC3F73621}" type="presParOf" srcId="{8E592AC7-B094-488F-86DE-8B46AA43A5F7}" destId="{158BBE6D-1C8E-4142-827F-B1B32D20364B}" srcOrd="1" destOrd="0" presId="urn:microsoft.com/office/officeart/2005/8/layout/pyramid1"/>
    <dgm:cxn modelId="{D2C0F324-0B4A-475C-8F51-9E6760724FF7}" type="presParOf" srcId="{8C222443-D6D5-437E-8A06-7845FF64044F}" destId="{08609C55-E487-4600-AFD0-8994D3888F22}" srcOrd="1" destOrd="0" presId="urn:microsoft.com/office/officeart/2005/8/layout/pyramid1"/>
    <dgm:cxn modelId="{BBDFFE0C-1AD8-4415-B013-4B2F707E7864}" type="presParOf" srcId="{08609C55-E487-4600-AFD0-8994D3888F22}" destId="{7099C5AD-A666-455F-9144-31509FAE35FB}" srcOrd="0" destOrd="0" presId="urn:microsoft.com/office/officeart/2005/8/layout/pyramid1"/>
    <dgm:cxn modelId="{EF25BFE5-6963-465E-8CF9-9C780741CB23}" type="presParOf" srcId="{08609C55-E487-4600-AFD0-8994D3888F22}" destId="{8064A9E2-4365-4891-A563-4210D9FE6047}" srcOrd="1" destOrd="0" presId="urn:microsoft.com/office/officeart/2005/8/layout/pyramid1"/>
    <dgm:cxn modelId="{01D7ECFB-C58C-4F6D-82E1-441339172A42}" type="presParOf" srcId="{8C222443-D6D5-437E-8A06-7845FF64044F}" destId="{4E66420A-6794-4210-A8DC-A681DFE94B26}" srcOrd="2" destOrd="0" presId="urn:microsoft.com/office/officeart/2005/8/layout/pyramid1"/>
    <dgm:cxn modelId="{0409DCBF-980A-47EB-81DA-6FB04BF40B91}" type="presParOf" srcId="{4E66420A-6794-4210-A8DC-A681DFE94B26}" destId="{3405B94A-B110-4EB0-B99D-680A85764021}" srcOrd="0" destOrd="0" presId="urn:microsoft.com/office/officeart/2005/8/layout/pyramid1"/>
    <dgm:cxn modelId="{F51E5BC6-B54C-4A6C-9EDA-F2E495CB530A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аполнение </a:t>
          </a:r>
          <a:r>
            <a:rPr lang="ru-RU" sz="1800" dirty="0" smtClean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данных студентами и классным руководителем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657BD623-5104-4AD3-8C08-5F9A00805805}" type="pres">
      <dgm:prSet presAssocID="{6BFEE5F0-45C5-4CFF-BA2D-8A60B5871492}" presName="TwoNodes_1" presStyleLbl="node1" presStyleIdx="0" presStyleCnt="2" custScaleX="112075" custScaleY="36218" custLinFactNeighborX="8117" custLinFactNeighborY="-142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C4BB31-A9B7-469E-8149-94F9BFAE26D0}" type="pres">
      <dgm:prSet presAssocID="{6BFEE5F0-45C5-4CFF-BA2D-8A60B5871492}" presName="TwoNodes_2" presStyleLbl="node1" presStyleIdx="1" presStyleCnt="2" custScaleX="117647" custScaleY="164384" custLinFactNeighborX="-7430" custLinFactNeighborY="-1447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929590-F89F-4F19-9F0A-72BC1F89A267}" type="pres">
      <dgm:prSet presAssocID="{6BFEE5F0-45C5-4CFF-BA2D-8A60B5871492}" presName="TwoConn_1-2" presStyleLbl="fgAccFollowNode1" presStyleIdx="0" presStyleCnt="1" custLinFactX="-100000" custLinFactNeighborX="-156270" custLinFactNeighborY="-379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553C76-C7F3-4194-94CA-B1F73D0A1A81}" type="pres">
      <dgm:prSet presAssocID="{6BFEE5F0-45C5-4CFF-BA2D-8A60B5871492}" presName="TwoNodes_1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6BC4DC-1C00-4565-90A9-34C07293792E}" type="pres">
      <dgm:prSet presAssocID="{6BFEE5F0-45C5-4CFF-BA2D-8A60B5871492}" presName="TwoNodes_2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CA4EC3-CBD9-4C4F-A88C-7FB8BBB8E922}" type="presOf" srcId="{98F1C1C8-A9C5-40A9-916F-5131661F376A}" destId="{B1929590-F89F-4F19-9F0A-72BC1F89A267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3226F78B-AEA3-434C-BB28-D445BC000A2E}" type="presOf" srcId="{2B8E528B-B59C-46A5-8EBC-B248E02C47B1}" destId="{776BC4DC-1C00-4565-90A9-34C07293792E}" srcOrd="1" destOrd="0" presId="urn:microsoft.com/office/officeart/2005/8/layout/vProcess5"/>
    <dgm:cxn modelId="{BA6A1E09-1199-42CF-8E13-1E55800201DB}" type="presOf" srcId="{DABD7538-E1B7-4A14-9649-1C582DF5D4FE}" destId="{2D553C76-C7F3-4194-94CA-B1F73D0A1A81}" srcOrd="1" destOrd="0" presId="urn:microsoft.com/office/officeart/2005/8/layout/vProcess5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82FBC7EB-3D5A-4EC2-8E71-8532C6F19FD3}" type="presOf" srcId="{DABD7538-E1B7-4A14-9649-1C582DF5D4FE}" destId="{657BD623-5104-4AD3-8C08-5F9A00805805}" srcOrd="0" destOrd="0" presId="urn:microsoft.com/office/officeart/2005/8/layout/vProcess5"/>
    <dgm:cxn modelId="{629704E4-9838-4F89-8CC9-CFBD11720068}" type="presOf" srcId="{2B8E528B-B59C-46A5-8EBC-B248E02C47B1}" destId="{D0C4BB31-A9B7-469E-8149-94F9BFAE26D0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8BAB424C-7530-412D-9FE4-E5E9C6C3F3F7}" type="presParOf" srcId="{750584B0-8F72-4FC1-8F04-083026C179E3}" destId="{657BD623-5104-4AD3-8C08-5F9A00805805}" srcOrd="1" destOrd="0" presId="urn:microsoft.com/office/officeart/2005/8/layout/vProcess5"/>
    <dgm:cxn modelId="{C7B27C21-A1C6-43C1-B1E0-FA2FA8648CBD}" type="presParOf" srcId="{750584B0-8F72-4FC1-8F04-083026C179E3}" destId="{D0C4BB31-A9B7-469E-8149-94F9BFAE26D0}" srcOrd="2" destOrd="0" presId="urn:microsoft.com/office/officeart/2005/8/layout/vProcess5"/>
    <dgm:cxn modelId="{D677F35C-6B6D-450C-A267-6064B0F45164}" type="presParOf" srcId="{750584B0-8F72-4FC1-8F04-083026C179E3}" destId="{B1929590-F89F-4F19-9F0A-72BC1F89A267}" srcOrd="3" destOrd="0" presId="urn:microsoft.com/office/officeart/2005/8/layout/vProcess5"/>
    <dgm:cxn modelId="{0E49A613-BDA0-4FB7-B4CF-A6F959C35533}" type="presParOf" srcId="{750584B0-8F72-4FC1-8F04-083026C179E3}" destId="{2D553C76-C7F3-4194-94CA-B1F73D0A1A81}" srcOrd="4" destOrd="0" presId="urn:microsoft.com/office/officeart/2005/8/layout/vProcess5"/>
    <dgm:cxn modelId="{58FB6A51-7C78-4EB7-99D4-79D485F1DB6F}" type="presParOf" srcId="{750584B0-8F72-4FC1-8F04-083026C179E3}" destId="{776BC4DC-1C00-4565-90A9-34C07293792E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3. Работа в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нлайн-инструменте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forms.yandex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, 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согласно срокам исполнения.</a:t>
          </a:r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4. Отчет о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боте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647B848C-45D5-4127-8893-C1565759C39A}" type="pres">
      <dgm:prSet presAssocID="{6BFEE5F0-45C5-4CFF-BA2D-8A60B5871492}" presName="TwoNodes_1" presStyleLbl="node1" presStyleIdx="0" presStyleCnt="2" custScaleX="117047" custLinFactNeighborX="10182" custLinFactNeighborY="-109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2F365F-87C8-42CC-97AF-DE0FE2984A03}" type="pres">
      <dgm:prSet presAssocID="{6BFEE5F0-45C5-4CFF-BA2D-8A60B5871492}" presName="TwoNodes_2" presStyleLbl="node1" presStyleIdx="1" presStyleCnt="2" custScaleX="109086" custLinFactNeighborX="-15541" custLinFactNeighborY="-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7CE2EF-F3A3-4755-9715-02B1768669C1}" type="pres">
      <dgm:prSet presAssocID="{6BFEE5F0-45C5-4CFF-BA2D-8A60B5871492}" presName="TwoConn_1-2" presStyleLbl="fgAccFollowNode1" presStyleIdx="0" presStyleCnt="1" custLinFactX="-200000" custLinFactNeighborX="-232866" custLinFactNeighborY="182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BB2BA-694C-4D4A-8619-963993337D1B}" type="pres">
      <dgm:prSet presAssocID="{6BFEE5F0-45C5-4CFF-BA2D-8A60B5871492}" presName="TwoNodes_1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FE7202-2CB4-4332-A6D1-E744FB492A2C}" type="pres">
      <dgm:prSet presAssocID="{6BFEE5F0-45C5-4CFF-BA2D-8A60B5871492}" presName="TwoNodes_2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DBEAAD-3254-4D86-AF65-F0365F997AE1}" type="presOf" srcId="{F68A3DDF-6DB4-4987-B53D-BCDBCA10BAEB}" destId="{EB7BB2BA-694C-4D4A-8619-963993337D1B}" srcOrd="1" destOrd="0" presId="urn:microsoft.com/office/officeart/2005/8/layout/vProcess5"/>
    <dgm:cxn modelId="{0327797C-D8BE-407B-89AE-671295992444}" type="presOf" srcId="{FC5BD7F4-96B4-47C9-998E-6FC57FDD5E06}" destId="{642F365F-87C8-42CC-97AF-DE0FE2984A03}" srcOrd="0" destOrd="0" presId="urn:microsoft.com/office/officeart/2005/8/layout/vProcess5"/>
    <dgm:cxn modelId="{AE24B4F0-A61F-48F3-8AF0-C8C16F5084C9}" type="presOf" srcId="{FC5BD7F4-96B4-47C9-998E-6FC57FDD5E06}" destId="{AEFE7202-2CB4-4332-A6D1-E744FB492A2C}" srcOrd="1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B27C3BAE-C646-4E65-9AFF-72FACDF3F74D}" type="presOf" srcId="{F68A3DDF-6DB4-4987-B53D-BCDBCA10BAEB}" destId="{647B848C-45D5-4127-8893-C1565759C39A}" srcOrd="0" destOrd="0" presId="urn:microsoft.com/office/officeart/2005/8/layout/vProcess5"/>
    <dgm:cxn modelId="{17D051F3-3943-4148-8975-C86BCD77942E}" type="presOf" srcId="{E7C70EB0-ACEC-4279-BCCC-DF6F633D54FD}" destId="{497CE2EF-F3A3-4755-9715-02B1768669C1}" srcOrd="0" destOrd="0" presId="urn:microsoft.com/office/officeart/2005/8/layout/vProcess5"/>
    <dgm:cxn modelId="{0FF18272-5323-40BD-820A-BCA1928EF8F0}" srcId="{6BFEE5F0-45C5-4CFF-BA2D-8A60B5871492}" destId="{F68A3DDF-6DB4-4987-B53D-BCDBCA10BAEB}" srcOrd="0" destOrd="0" parTransId="{8EFFDE97-27ED-4BEE-94F2-E44BC495E713}" sibTransId="{E7C70EB0-ACEC-4279-BCCC-DF6F633D54FD}"/>
    <dgm:cxn modelId="{D299D945-5B06-4459-93D5-DC15415E57A0}" srcId="{6BFEE5F0-45C5-4CFF-BA2D-8A60B5871492}" destId="{FC5BD7F4-96B4-47C9-998E-6FC57FDD5E06}" srcOrd="1" destOrd="0" parTransId="{B255644D-8A28-46C9-BF4D-930A9544BCBC}" sibTransId="{CA06A359-1AEE-4640-8FE2-7A447B44B5F4}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5BC4BB3F-0D3F-4F93-9D04-3E98DEE42D41}" type="presParOf" srcId="{750584B0-8F72-4FC1-8F04-083026C179E3}" destId="{647B848C-45D5-4127-8893-C1565759C39A}" srcOrd="1" destOrd="0" presId="urn:microsoft.com/office/officeart/2005/8/layout/vProcess5"/>
    <dgm:cxn modelId="{F11293C1-DE8C-4547-97CF-C9FDD12A2B9B}" type="presParOf" srcId="{750584B0-8F72-4FC1-8F04-083026C179E3}" destId="{642F365F-87C8-42CC-97AF-DE0FE2984A03}" srcOrd="2" destOrd="0" presId="urn:microsoft.com/office/officeart/2005/8/layout/vProcess5"/>
    <dgm:cxn modelId="{422D0769-8644-42A0-8CA0-308A64D31D96}" type="presParOf" srcId="{750584B0-8F72-4FC1-8F04-083026C179E3}" destId="{497CE2EF-F3A3-4755-9715-02B1768669C1}" srcOrd="3" destOrd="0" presId="urn:microsoft.com/office/officeart/2005/8/layout/vProcess5"/>
    <dgm:cxn modelId="{E7FED35E-CAF2-4307-AB6E-880D52713B9C}" type="presParOf" srcId="{750584B0-8F72-4FC1-8F04-083026C179E3}" destId="{EB7BB2BA-694C-4D4A-8619-963993337D1B}" srcOrd="4" destOrd="0" presId="urn:microsoft.com/office/officeart/2005/8/layout/vProcess5"/>
    <dgm:cxn modelId="{9FCE6C71-C3E3-4A10-904C-99ABE63EC8AA}" type="presParOf" srcId="{750584B0-8F72-4FC1-8F04-083026C179E3}" destId="{AEFE7202-2CB4-4332-A6D1-E744FB492A2C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125148" y="0"/>
          <a:ext cx="1125148" cy="1297484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125148" y="0"/>
        <a:ext cx="1125148" cy="1297484"/>
      </dsp:txXfrm>
    </dsp:sp>
    <dsp:sp modelId="{7099C5AD-A666-455F-9144-31509FAE35FB}">
      <dsp:nvSpPr>
        <dsp:cNvPr id="0" name=""/>
        <dsp:cNvSpPr/>
      </dsp:nvSpPr>
      <dsp:spPr>
        <a:xfrm>
          <a:off x="558546" y="1310056"/>
          <a:ext cx="2250296" cy="1297484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952348" y="1310056"/>
        <a:ext cx="1462692" cy="1297484"/>
      </dsp:txXfrm>
    </dsp:sp>
    <dsp:sp modelId="{3405B94A-B110-4EB0-B99D-680A85764021}">
      <dsp:nvSpPr>
        <dsp:cNvPr id="0" name=""/>
        <dsp:cNvSpPr/>
      </dsp:nvSpPr>
      <dsp:spPr>
        <a:xfrm>
          <a:off x="0" y="2594968"/>
          <a:ext cx="3375445" cy="1297484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590702" y="2594968"/>
        <a:ext cx="2194039" cy="12974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BD623-5104-4AD3-8C08-5F9A00805805}">
      <dsp:nvSpPr>
        <dsp:cNvPr id="0" name=""/>
        <dsp:cNvSpPr/>
      </dsp:nvSpPr>
      <dsp:spPr>
        <a:xfrm>
          <a:off x="47178" y="31486"/>
          <a:ext cx="7702205" cy="737143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8768" y="53076"/>
        <a:ext cx="5434995" cy="693963"/>
      </dsp:txXfrm>
    </dsp:sp>
    <dsp:sp modelId="{D0C4BB31-A9B7-469E-8149-94F9BFAE26D0}">
      <dsp:nvSpPr>
        <dsp:cNvPr id="0" name=""/>
        <dsp:cNvSpPr/>
      </dsp:nvSpPr>
      <dsp:spPr>
        <a:xfrm>
          <a:off x="38" y="1210190"/>
          <a:ext cx="8085133" cy="334569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kern="1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аполнение </a:t>
          </a:r>
          <a:r>
            <a:rPr lang="ru-RU" sz="1800" kern="1200" dirty="0" smtClean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данных студентами и классным руководителем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8030" y="1308182"/>
        <a:ext cx="4905960" cy="3149715"/>
      </dsp:txXfrm>
    </dsp:sp>
    <dsp:sp modelId="{B1929590-F89F-4F19-9F0A-72BC1F89A267}">
      <dsp:nvSpPr>
        <dsp:cNvPr id="0" name=""/>
        <dsp:cNvSpPr/>
      </dsp:nvSpPr>
      <dsp:spPr>
        <a:xfrm>
          <a:off x="2063390" y="769887"/>
          <a:ext cx="1322941" cy="1322941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>
            <a:solidFill>
              <a:srgbClr val="002060"/>
            </a:solidFill>
          </a:endParaRPr>
        </a:p>
      </dsp:txBody>
      <dsp:txXfrm>
        <a:off x="2361052" y="769887"/>
        <a:ext cx="727617" cy="9955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7B848C-45D5-4127-8893-C1565759C39A}">
      <dsp:nvSpPr>
        <dsp:cNvPr id="0" name=""/>
        <dsp:cNvSpPr/>
      </dsp:nvSpPr>
      <dsp:spPr>
        <a:xfrm>
          <a:off x="41238" y="0"/>
          <a:ext cx="8043899" cy="2008822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Работа в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нлайн-инструменте </a:t>
          </a: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forms.yandex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, 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согласно срокам исполнения.</a:t>
          </a:r>
        </a:p>
      </dsp:txBody>
      <dsp:txXfrm>
        <a:off x="100074" y="58836"/>
        <a:ext cx="5633742" cy="1891150"/>
      </dsp:txXfrm>
    </dsp:sp>
    <dsp:sp modelId="{642F365F-87C8-42CC-97AF-DE0FE2984A03}">
      <dsp:nvSpPr>
        <dsp:cNvPr id="0" name=""/>
        <dsp:cNvSpPr/>
      </dsp:nvSpPr>
      <dsp:spPr>
        <a:xfrm>
          <a:off x="0" y="2455086"/>
          <a:ext cx="7496790" cy="2008822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Отчет о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боте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8836" y="2513922"/>
        <a:ext cx="4631781" cy="1891150"/>
      </dsp:txXfrm>
    </dsp:sp>
    <dsp:sp modelId="{497CE2EF-F3A3-4755-9715-02B1768669C1}">
      <dsp:nvSpPr>
        <dsp:cNvPr id="0" name=""/>
        <dsp:cNvSpPr/>
      </dsp:nvSpPr>
      <dsp:spPr>
        <a:xfrm>
          <a:off x="51328" y="1817088"/>
          <a:ext cx="1305734" cy="1305734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345118" y="1817088"/>
        <a:ext cx="718154" cy="9825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83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784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9.12.2024</a:t>
            </a:fld>
            <a:endParaRPr lang="ru-RU"/>
          </a:p>
        </p:txBody>
      </p:sp>
      <p:sp>
        <p:nvSpPr>
          <p:cNvPr id="1048785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1048786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87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788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9211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425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3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3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04873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9.12.2024</a:t>
            </a:fld>
            <a:endParaRPr lang="ru-RU"/>
          </a:p>
        </p:txBody>
      </p:sp>
      <p:sp>
        <p:nvSpPr>
          <p:cNvPr id="104873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3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5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5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5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9.12.2024</a:t>
            </a:fld>
            <a:endParaRPr lang="ru-RU"/>
          </a:p>
        </p:txBody>
      </p:sp>
      <p:sp>
        <p:nvSpPr>
          <p:cNvPr id="104875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5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4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4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9.12.2024</a:t>
            </a:fld>
            <a:endParaRPr lang="ru-RU"/>
          </a:p>
        </p:txBody>
      </p:sp>
      <p:sp>
        <p:nvSpPr>
          <p:cNvPr id="104874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4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582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58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9.12.2024</a:t>
            </a:fld>
            <a:endParaRPr lang="ru-RU"/>
          </a:p>
        </p:txBody>
      </p:sp>
      <p:sp>
        <p:nvSpPr>
          <p:cNvPr id="104858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58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58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48759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60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9.12.2024</a:t>
            </a:fld>
            <a:endParaRPr lang="ru-RU"/>
          </a:p>
        </p:txBody>
      </p:sp>
      <p:sp>
        <p:nvSpPr>
          <p:cNvPr id="1048761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6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64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65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6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9.12.2024</a:t>
            </a:fld>
            <a:endParaRPr lang="ru-RU"/>
          </a:p>
        </p:txBody>
      </p:sp>
      <p:sp>
        <p:nvSpPr>
          <p:cNvPr id="104876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6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70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71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72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73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74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9.12.2024</a:t>
            </a:fld>
            <a:endParaRPr lang="ru-RU"/>
          </a:p>
        </p:txBody>
      </p:sp>
      <p:sp>
        <p:nvSpPr>
          <p:cNvPr id="1048775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76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739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9.12.2024</a:t>
            </a:fld>
            <a:endParaRPr lang="ru-RU"/>
          </a:p>
        </p:txBody>
      </p:sp>
      <p:sp>
        <p:nvSpPr>
          <p:cNvPr id="1048740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41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3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9.12.2024</a:t>
            </a:fld>
            <a:endParaRPr lang="ru-RU"/>
          </a:p>
        </p:txBody>
      </p:sp>
      <p:sp>
        <p:nvSpPr>
          <p:cNvPr id="104859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595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77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48778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779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80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9.12.2024</a:t>
            </a:fld>
            <a:endParaRPr lang="ru-RU"/>
          </a:p>
        </p:txBody>
      </p:sp>
      <p:sp>
        <p:nvSpPr>
          <p:cNvPr id="1048781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82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7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48748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48749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50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9.12.2024</a:t>
            </a:fld>
            <a:endParaRPr lang="ru-RU"/>
          </a:p>
        </p:txBody>
      </p:sp>
      <p:sp>
        <p:nvSpPr>
          <p:cNvPr id="1048751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752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48577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578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9.12.2024</a:t>
            </a:fld>
            <a:endParaRPr lang="ru-RU"/>
          </a:p>
        </p:txBody>
      </p:sp>
      <p:sp>
        <p:nvSpPr>
          <p:cNvPr id="1048579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04858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28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1.png"/><Relationship Id="rId7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Бакальский техникум профессиональных технологий и сервиса имени М.Г. Ганиева»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342749" y="4919229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БТПТиС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ущенко Н.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«Оптимизация </a:t>
            </a:r>
            <a:r>
              <a:rPr lang="ru-RU" sz="24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цесса заполнения социального паспорта обучающихся 1 курса ГБПОУ БТПТиС им.М.Г.Ганиева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 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181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5679281"/>
            <a:ext cx="260747" cy="214313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4220171" y="5439163"/>
            <a:ext cx="353615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ремя протекания процесса – 51 мин</a:t>
            </a:r>
            <a:r>
              <a:rPr lang="ru-RU" sz="1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814998" y="4491632"/>
            <a:ext cx="216024" cy="113412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443524" y="2460170"/>
            <a:ext cx="188640" cy="91810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64" y="410582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414933" y="545649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1829" y="898435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1705" y="5860155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887383" y="1134760"/>
            <a:ext cx="678067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«Оптимизация процесса заполнения </a:t>
            </a:r>
          </a:p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социального паспорта обучающихся 1 курса ГБПОУ БТПТиС им.М.Г.Ганиева»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/>
          </p:nvPr>
        </p:nvGraphicFramePr>
        <p:xfrm>
          <a:off x="708380" y="2260685"/>
          <a:ext cx="1314832" cy="180837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4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371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егистрация письм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 МОИН ЧО по заполнению отчета «Оптимизация процесса заполнения социального паспорта обучающихся 1 курса ГБПОУ БТПТиС им.М.Г.Ганиева»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348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  <a:endParaRPr lang="ru-RU" sz="8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154983" y="1936550"/>
            <a:ext cx="474593" cy="241275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1</a:t>
            </a:r>
            <a:r>
              <a:rPr lang="ru-RU" sz="9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070396" y="2574382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/>
          </p:nvPr>
        </p:nvGraphicFramePr>
        <p:xfrm>
          <a:off x="2397949" y="2283049"/>
          <a:ext cx="1313892" cy="89238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7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60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сылка входящего письма </a:t>
                      </a:r>
                      <a:r>
                        <a:rPr lang="ru-RU" sz="800" b="1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м.п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ВР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4086578" y="2267849"/>
          <a:ext cx="1313892" cy="13427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73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.по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формы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я отчета классным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уководителям с указанием сроков выполнения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/>
          </p:nvPr>
        </p:nvGraphicFramePr>
        <p:xfrm>
          <a:off x="5770924" y="2270451"/>
          <a:ext cx="1313892" cy="9525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 актуализация данных со студентов с помощью опроса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/>
          </p:nvPr>
        </p:nvGraphicFramePr>
        <p:xfrm>
          <a:off x="2404187" y="4398287"/>
          <a:ext cx="1313892" cy="13427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73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.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отчета </a:t>
                      </a: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«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тимизация процесса заполнения социального паспорта обучающихся 1 курса» в </a:t>
                      </a:r>
                      <a:r>
                        <a:rPr lang="ru-RU" sz="800" b="1" kern="1200" baseline="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ОиН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ЧО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3759026" y="2524253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38" name="Стрелка вправо 37"/>
          <p:cNvSpPr/>
          <p:nvPr/>
        </p:nvSpPr>
        <p:spPr>
          <a:xfrm>
            <a:off x="5445513" y="2505580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39" name="Стрелка вправо 38"/>
          <p:cNvSpPr/>
          <p:nvPr/>
        </p:nvSpPr>
        <p:spPr>
          <a:xfrm>
            <a:off x="190341" y="4995158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0" name="Стрелка вправо 39"/>
          <p:cNvSpPr/>
          <p:nvPr/>
        </p:nvSpPr>
        <p:spPr>
          <a:xfrm>
            <a:off x="2064376" y="4995158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1" name="Прямоугольник 40"/>
          <p:cNvSpPr/>
          <p:nvPr/>
        </p:nvSpPr>
        <p:spPr>
          <a:xfrm>
            <a:off x="2820033" y="1943668"/>
            <a:ext cx="482203" cy="23306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2</a:t>
            </a:r>
            <a:r>
              <a:rPr lang="ru-RU" sz="9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469110" y="193655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3</a:t>
            </a:r>
            <a:r>
              <a:rPr lang="ru-RU" sz="9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186768" y="1926156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4</a:t>
            </a:r>
            <a:r>
              <a:rPr lang="ru-RU" sz="9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39284" y="4229121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5</a:t>
            </a:r>
            <a:r>
              <a:rPr lang="ru-RU" sz="9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932360" y="1929048"/>
            <a:ext cx="508495" cy="246623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5370505" y="1965211"/>
            <a:ext cx="506078" cy="23904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/>
              <a:t>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6149891" y="3456849"/>
            <a:ext cx="23701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/>
          </p:nvPr>
        </p:nvGraphicFramePr>
        <p:xfrm>
          <a:off x="5876583" y="3756931"/>
          <a:ext cx="2519182" cy="16512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519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7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altLang="ru-RU" sz="1100" b="0" i="0" dirty="0" smtClean="0">
                          <a:latin typeface="Times New Roman" pitchFamily="18" charset="0"/>
                          <a:cs typeface="Times New Roman" pitchFamily="18" charset="0"/>
                        </a:rPr>
                        <a:t>Внедрение системы  онлайн-инструмента  forms.yandex  для создания форм и сбора информации. </a:t>
                      </a: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85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заполнение в онлайн-инструменте 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forms.yandex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с конкретным перечнем необходимой информации</a:t>
                      </a: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>
            <p:extLst/>
          </p:nvPr>
        </p:nvGraphicFramePr>
        <p:xfrm>
          <a:off x="665564" y="4549673"/>
          <a:ext cx="1313892" cy="13427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73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чета «Оптимизация процесса заполнения социального паспорта обучающихся 1 курса» </a:t>
                      </a:r>
                      <a:r>
                        <a:rPr lang="ru-RU" sz="800" b="1" kern="1200" baseline="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м.п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ВР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Стрелка вправо 48"/>
          <p:cNvSpPr/>
          <p:nvPr/>
        </p:nvSpPr>
        <p:spPr>
          <a:xfrm>
            <a:off x="7129859" y="2548425"/>
            <a:ext cx="280368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50" name="Прямоугольник 49"/>
          <p:cNvSpPr/>
          <p:nvPr/>
        </p:nvSpPr>
        <p:spPr>
          <a:xfrm>
            <a:off x="2820033" y="4080292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6</a:t>
            </a:r>
            <a:r>
              <a:rPr lang="ru-RU" sz="900" b="1" dirty="0"/>
              <a:t> </a:t>
            </a:r>
          </a:p>
        </p:txBody>
      </p:sp>
      <p:sp>
        <p:nvSpPr>
          <p:cNvPr id="54" name="Облако 53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1838666" y="4189632"/>
            <a:ext cx="506078" cy="23904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/>
              <a:t>2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104701" y="1903213"/>
            <a:ext cx="521253" cy="37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0398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0256031"/>
              </p:ext>
            </p:extLst>
          </p:nvPr>
        </p:nvGraphicFramePr>
        <p:xfrm>
          <a:off x="361949" y="1484784"/>
          <a:ext cx="8640761" cy="4596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Нарушение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роков передачи данны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недрение системы  онлайн-инструмента  </a:t>
                      </a:r>
                      <a:r>
                        <a:rPr lang="en-US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baseline="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</a:t>
                      </a:r>
                      <a:r>
                        <a:rPr lang="en-US" sz="1400" kern="120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ndex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создания форм и сбора информации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лущенко Н.В. – директор, Котенкова О.Д. -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 УВР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10.2024-12.11.202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формы по сбору информации </a:t>
                      </a: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нлайн-инструмента  </a:t>
                      </a:r>
                      <a:r>
                        <a:rPr lang="en-US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baseline="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</a:t>
                      </a:r>
                      <a:r>
                        <a:rPr lang="en-US" sz="1400" kern="120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ndex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правка ссылки классным руководителям и обучающимся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Отсутствие 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ктуальных данных у классного руководител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i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нструктивного совещания с классными руководителями по работе в онлайн-инструменте </a:t>
                      </a:r>
                      <a:r>
                        <a:rPr lang="en-US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baseline="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</a:t>
                      </a:r>
                      <a:r>
                        <a:rPr lang="en-US" sz="1400" kern="120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ndex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тенкова О.Д. - зам.директора по УВР, руководитель проекта, </a:t>
                      </a:r>
                      <a:r>
                        <a:rPr lang="ru-RU" sz="1400" kern="120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9.11.2024-10.12.202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есение информации в форму </a:t>
                      </a: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нлайн-инструмента  </a:t>
                      </a:r>
                      <a:r>
                        <a:rPr lang="en-US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baseline="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</a:t>
                      </a:r>
                      <a:r>
                        <a:rPr lang="en-US" sz="1400" kern="1200" dirty="0" err="1" smtClean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ndex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9757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5690228"/>
              </p:ext>
            </p:extLst>
          </p:nvPr>
        </p:nvGraphicFramePr>
        <p:xfrm>
          <a:off x="361949" y="1484784"/>
          <a:ext cx="8640761" cy="4030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втоматическое заполнение в онлайн-инструменте 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andex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с конкретным перечнем необходимой информаци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возможность правильно выстроить работу в группе классным руководителям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е инструктивного совещания по онлайн- планированию для классных руководителе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тенкова О.Д. - зам. директора по УВР, руководитель проекта, </a:t>
                      </a:r>
                      <a:r>
                        <a:rPr lang="ru-RU" sz="1400" kern="120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9.11.2024-10.12.202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полнение формы в онлайн-инструменте 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andex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93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3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67111555"/>
              </p:ext>
            </p:extLst>
          </p:nvPr>
        </p:nvGraphicFramePr>
        <p:xfrm>
          <a:off x="329986" y="1356861"/>
          <a:ext cx="8640761" cy="53646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ое принятие управленческих решени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втоматическое индивидуальное планирование в онлайн-инструменте, со сроками исполнен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тенкова О.Д. - зам. директора по УВР, руководитель проекта, </a:t>
                      </a:r>
                      <a:r>
                        <a:rPr lang="ru-RU" sz="14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9.11.2024-10.12.202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людение сроков исполнения задач, отсутствие невыполненных задач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ализ и оценка достижения целевых показателей </a:t>
                      </a: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тенкова О.Д. - зам. директора по УВР, руководитель проекта, </a:t>
                      </a:r>
                      <a:r>
                        <a:rPr lang="ru-RU" sz="1400" kern="120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лассные руководител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12.2024-16.12.202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времени сбора и обработки информац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лучение фактически достигнутых значений целевых показателе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9596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Таблица 6">
            <a:extLst>
              <a:ext uri="{FF2B5EF4-FFF2-40B4-BE49-F238E27FC236}">
                <a16:creationId xmlns:a16="http://schemas.microsoft.com/office/drawing/2014/main" id="{68C8E843-91D5-4431-9C8E-FB24A98932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712647"/>
              </p:ext>
            </p:extLst>
          </p:nvPr>
        </p:nvGraphicFramePr>
        <p:xfrm>
          <a:off x="123844" y="1676400"/>
          <a:ext cx="8912652" cy="41288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68036">
                  <a:extLst>
                    <a:ext uri="{9D8B030D-6E8A-4147-A177-3AD203B41FA5}">
                      <a16:colId xmlns:a16="http://schemas.microsoft.com/office/drawing/2014/main" val="1110404971"/>
                    </a:ext>
                  </a:extLst>
                </a:gridCol>
                <a:gridCol w="5544616">
                  <a:extLst>
                    <a:ext uri="{9D8B030D-6E8A-4147-A177-3AD203B41FA5}">
                      <a16:colId xmlns:a16="http://schemas.microsoft.com/office/drawing/2014/main" val="714956479"/>
                    </a:ext>
                  </a:extLst>
                </a:gridCol>
              </a:tblGrid>
              <a:tr h="47766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гнутые показател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е ключевые мероприят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728586"/>
                  </a:ext>
                </a:extLst>
              </a:tr>
              <a:tr h="942245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Уменьшение времени на  регистрацию, согласование и рассылку входящих писем с 15 мин. до 10 мин.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бор программного обеспечения для оптимизации процесса управления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системы управления проектами для команд YouGi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112448"/>
                  </a:ext>
                </a:extLst>
              </a:tr>
              <a:tr h="1491888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 времени на планирование работы с 30 мин. до 1 мин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ие команды проекта работе в системы управления проектами YouGile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индивидуальное планирование в системе YouGile 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уведомлений о назначении исполнителей и сроках выполнения (в почте, мобильном приложении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5382207"/>
                  </a:ext>
                </a:extLst>
              </a:tr>
              <a:tr h="1217066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и контроля за исполнением задач с 90 мин. до 10 мин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уведомлений о назначении исполнителей и сроках выполнения (в почте, мобильном приложении)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й мониторинг деятельности исполнителей на основной доске задач в системе YouGi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849663"/>
                  </a:ext>
                </a:extLst>
              </a:tr>
            </a:tbl>
          </a:graphicData>
        </a:graphic>
      </p:graphicFrame>
      <p:graphicFrame>
        <p:nvGraphicFramePr>
          <p:cNvPr id="13" name="Таблица 6">
            <a:extLst>
              <a:ext uri="{FF2B5EF4-FFF2-40B4-BE49-F238E27FC236}">
                <a16:creationId xmlns:a16="http://schemas.microsoft.com/office/drawing/2014/main" id="{68C8E843-91D5-4431-9C8E-FB24A98932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119466"/>
              </p:ext>
            </p:extLst>
          </p:nvPr>
        </p:nvGraphicFramePr>
        <p:xfrm>
          <a:off x="123844" y="1671905"/>
          <a:ext cx="8912652" cy="27787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68036">
                  <a:extLst>
                    <a:ext uri="{9D8B030D-6E8A-4147-A177-3AD203B41FA5}">
                      <a16:colId xmlns:a16="http://schemas.microsoft.com/office/drawing/2014/main" val="1110404971"/>
                    </a:ext>
                  </a:extLst>
                </a:gridCol>
                <a:gridCol w="5544616">
                  <a:extLst>
                    <a:ext uri="{9D8B030D-6E8A-4147-A177-3AD203B41FA5}">
                      <a16:colId xmlns:a16="http://schemas.microsoft.com/office/drawing/2014/main" val="7149564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гнутые показател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е ключевые мероприят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728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Уменьшение </a:t>
                      </a: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времени</a:t>
                      </a:r>
                      <a:r>
                        <a:rPr lang="ru-RU" sz="14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на заполнение социальной карты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бор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нлайн-инструмента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kumimoji="0" lang="en-US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yandex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оптимизации процесса заполнения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1124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 времени на планирование работы с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 до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ивидуальное планирование в системе YouGile 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уведомлений о назначении исполнителей и сроках выполнения (в почте, мобильном приложении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5382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и контроля за исполнением задач с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 до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уведомлений о назначении исполнителей и сроках выполнения (в почте, мобильном приложении)</a:t>
                      </a:r>
                      <a:endParaRPr lang="en-US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й мониторинг деятельности исполнителей на основной доске задач в системе YouGi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8496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3459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9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04868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5</a:t>
            </a:fld>
            <a:endParaRPr lang="ru-RU" sz="1400"/>
          </a:p>
        </p:txBody>
      </p:sp>
      <p:pic>
        <p:nvPicPr>
          <p:cNvPr id="2097181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81" name="TextBox 10"/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048682" name="TextBox 11"/>
          <p:cNvSpPr txBox="1"/>
          <p:nvPr/>
        </p:nvSpPr>
        <p:spPr>
          <a:xfrm>
            <a:off x="747168" y="1623363"/>
            <a:ext cx="7624018" cy="39087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на 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олнение социального паспорта обучающихся %.</a:t>
            </a:r>
            <a:endParaRPr lang="en-US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endParaRPr lang="en-US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ьшение времени на планирование работы на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endParaRPr lang="en-US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endParaRPr lang="en-US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на контроль за исполнением на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971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8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9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04868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6</a:t>
            </a:fld>
            <a:endParaRPr lang="ru-RU" sz="1400"/>
          </a:p>
        </p:txBody>
      </p:sp>
      <p:pic>
        <p:nvPicPr>
          <p:cNvPr id="2097181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81" name="TextBox 10"/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pic>
        <p:nvPicPr>
          <p:cNvPr id="20971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8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1448779" y="1460969"/>
            <a:ext cx="63904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нструкция о порядке работы в </a:t>
            </a:r>
            <a:r>
              <a:rPr lang="ru-RU" b="1" dirty="0" smtClean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онлайн-инструменте </a:t>
            </a:r>
            <a:endParaRPr lang="ru-RU" b="1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9" t="40392" r="7274" b="49251"/>
          <a:stretch/>
        </p:blipFill>
        <p:spPr>
          <a:xfrm>
            <a:off x="93013" y="2059846"/>
            <a:ext cx="9015492" cy="77487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4" t="70307" r="62961" b="6935"/>
          <a:stretch/>
        </p:blipFill>
        <p:spPr>
          <a:xfrm>
            <a:off x="91033" y="2930169"/>
            <a:ext cx="3296028" cy="130467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2354" y="2834722"/>
            <a:ext cx="5215508" cy="3259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965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9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04868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7</a:t>
            </a:fld>
            <a:endParaRPr lang="ru-RU" sz="1400"/>
          </a:p>
        </p:txBody>
      </p:sp>
      <p:pic>
        <p:nvPicPr>
          <p:cNvPr id="2097181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81" name="TextBox 10"/>
          <p:cNvSpPr txBox="1"/>
          <p:nvPr/>
        </p:nvSpPr>
        <p:spPr>
          <a:xfrm>
            <a:off x="831998" y="810956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pic>
        <p:nvPicPr>
          <p:cNvPr id="20971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8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831998" y="931216"/>
            <a:ext cx="79884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endParaRPr lang="ru-RU" sz="2400" b="1" dirty="0">
              <a:solidFill>
                <a:prstClr val="black"/>
              </a:solidFill>
            </a:endParaRPr>
          </a:p>
          <a:p>
            <a:pPr lvl="0" algn="ctr">
              <a:defRPr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чение целевых и фактических показателей в ходе реализации проекта.</a:t>
            </a:r>
          </a:p>
          <a:p>
            <a:pPr lvl="0" algn="ctr">
              <a:defRPr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ный эффект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1022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8</a:t>
            </a:fld>
            <a:endParaRPr lang="ru-RU"/>
          </a:p>
        </p:txBody>
      </p:sp>
      <p:sp>
        <p:nvSpPr>
          <p:cNvPr id="1048688" name="Заголовок 1"/>
          <p:cNvSpPr txBox="1"/>
          <p:nvPr/>
        </p:nvSpPr>
        <p:spPr>
          <a:xfrm>
            <a:off x="3733881" y="959978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rgbClr val="FF0000"/>
                </a:solidFill>
              </a:rPr>
              <a:t>ФОТО</a:t>
            </a:r>
          </a:p>
          <a:p>
            <a:r>
              <a:rPr lang="ru-RU" sz="3200" dirty="0">
                <a:solidFill>
                  <a:srgbClr val="FF0000"/>
                </a:solidFill>
              </a:rPr>
              <a:t>до </a:t>
            </a:r>
          </a:p>
        </p:txBody>
      </p:sp>
      <p:pic>
        <p:nvPicPr>
          <p:cNvPr id="2097184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92" name="Заголовок 1"/>
          <p:cNvSpPr txBox="1"/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09718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8" y="1707169"/>
            <a:ext cx="3785223" cy="5046964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9</a:t>
            </a:fld>
            <a:endParaRPr lang="ru-RU"/>
          </a:p>
        </p:txBody>
      </p:sp>
      <p:sp>
        <p:nvSpPr>
          <p:cNvPr id="1048690" name="Заголовок 1"/>
          <p:cNvSpPr txBox="1"/>
          <p:nvPr/>
        </p:nvSpPr>
        <p:spPr>
          <a:xfrm>
            <a:off x="3424675" y="959978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rgbClr val="FF0000"/>
                </a:solidFill>
              </a:rPr>
              <a:t>ФОТО</a:t>
            </a:r>
          </a:p>
          <a:p>
            <a:r>
              <a:rPr lang="ru-RU" sz="3200" dirty="0">
                <a:solidFill>
                  <a:srgbClr val="FF0000"/>
                </a:solidFill>
              </a:rPr>
              <a:t>после </a:t>
            </a:r>
          </a:p>
        </p:txBody>
      </p:sp>
      <p:pic>
        <p:nvPicPr>
          <p:cNvPr id="2097184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92" name="Заголовок 1"/>
          <p:cNvSpPr txBox="1"/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09718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" t="16405" r="3050" b="5157"/>
          <a:stretch/>
        </p:blipFill>
        <p:spPr>
          <a:xfrm>
            <a:off x="107504" y="1730751"/>
            <a:ext cx="8568952" cy="393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472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291" y="3297616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164804"/>
            <a:ext cx="9144000" cy="519154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79712" y="789013"/>
            <a:ext cx="5941347" cy="37126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0" y="216659"/>
            <a:ext cx="9144000" cy="642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6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1048667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1048668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20</a:t>
            </a:fld>
            <a:endParaRPr lang="ru-RU" altLang="ru-RU">
              <a:latin typeface="Arial" charset="0"/>
            </a:endParaRPr>
          </a:p>
        </p:txBody>
      </p:sp>
      <p:sp>
        <p:nvSpPr>
          <p:cNvPr id="1048669" name="TextBox 6"/>
          <p:cNvSpPr txBox="1"/>
          <p:nvPr/>
        </p:nvSpPr>
        <p:spPr>
          <a:xfrm>
            <a:off x="323528" y="2420892"/>
            <a:ext cx="3714750" cy="13849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250 мин.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670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51 мин.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48671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</a:t>
            </a:r>
            <a:r>
              <a:rPr lang="ru-RU" altLang="ru-RU" b="1" dirty="0" smtClean="0">
                <a:solidFill>
                  <a:srgbClr val="002060"/>
                </a:solidFill>
              </a:rPr>
              <a:t>ВРЕМЕНИ или  других ресурсов:  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199 мин. –единицы измерения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79,6 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3145728" name="Прямая соединительная линия 10"/>
          <p:cNvCxnSpPr>
            <a:cxnSpLocks/>
          </p:cNvCxnSpPr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29" name="Прямая соединительная линия 13"/>
          <p:cNvCxnSpPr>
            <a:cxnSpLocks/>
          </p:cNvCxnSpPr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72" name="Прямоугольник 14"/>
          <p:cNvSpPr/>
          <p:nvPr/>
        </p:nvSpPr>
        <p:spPr>
          <a:xfrm>
            <a:off x="251520" y="4982770"/>
            <a:ext cx="82082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/>
            <a:r>
              <a:rPr lang="ru-RU" sz="1600" b="1" cap="all" dirty="0">
                <a:solidFill>
                  <a:srgbClr val="0070C0"/>
                </a:solidFill>
                <a:latin typeface="Arial" panose="020B0604020202020204" pitchFamily="34" charset="0"/>
              </a:rPr>
              <a:t>Оптимизации процесса управления через </a:t>
            </a:r>
            <a:endParaRPr lang="ru-RU" sz="1600" b="1" cap="all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600" b="1" cap="all" dirty="0">
                <a:solidFill>
                  <a:srgbClr val="0070C0"/>
                </a:solidFill>
                <a:latin typeface="Arial" panose="020B0604020202020204" pitchFamily="34" charset="0"/>
              </a:rPr>
              <a:t>онлайн-инструмент </a:t>
            </a:r>
            <a:r>
              <a:rPr lang="en-US" sz="1600" b="1" cap="all" dirty="0">
                <a:solidFill>
                  <a:srgbClr val="0070C0"/>
                </a:solidFill>
                <a:latin typeface="Arial" panose="020B0604020202020204" pitchFamily="34" charset="0"/>
              </a:rPr>
              <a:t>forms</a:t>
            </a:r>
            <a:r>
              <a:rPr lang="ru-RU" sz="1600" b="1" cap="all" dirty="0">
                <a:solidFill>
                  <a:srgbClr val="0070C0"/>
                </a:solidFill>
                <a:latin typeface="Arial" panose="020B0604020202020204" pitchFamily="34" charset="0"/>
              </a:rPr>
              <a:t>.</a:t>
            </a:r>
            <a:r>
              <a:rPr lang="en-US" sz="1600" b="1" cap="all" dirty="0" err="1">
                <a:solidFill>
                  <a:srgbClr val="0070C0"/>
                </a:solidFill>
                <a:latin typeface="Arial" panose="020B0604020202020204" pitchFamily="34" charset="0"/>
              </a:rPr>
              <a:t>yandex</a:t>
            </a:r>
            <a:r>
              <a:rPr lang="ru-RU" sz="1600" b="1" cap="all" dirty="0" smtClean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2097175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</p:spPr>
      </p:pic>
      <p:sp>
        <p:nvSpPr>
          <p:cNvPr id="1048673" name="Заголовок 1"/>
          <p:cNvSpPr txBox="1"/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09717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7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2943" y="958740"/>
            <a:ext cx="8219256" cy="634082"/>
          </a:xfrm>
        </p:spPr>
        <p:txBody>
          <a:bodyPr>
            <a:no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действий </a:t>
            </a: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е в </a:t>
            </a: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инструмент </a:t>
            </a:r>
            <a:r>
              <a:rPr lang="en-US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ms.yandex</a:t>
            </a: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b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ьский</a:t>
            </a: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ехникум профессиональных технологий и сервиса имени М.Г. Ганиева»</a:t>
            </a: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752784"/>
              </p:ext>
            </p:extLst>
          </p:nvPr>
        </p:nvGraphicFramePr>
        <p:xfrm>
          <a:off x="276357" y="1930788"/>
          <a:ext cx="8085138" cy="4522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414" y="65389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D75EB48-BCF5-43D7-8A3A-A91C2452AAAE}"/>
              </a:ext>
            </a:extLst>
          </p:cNvPr>
          <p:cNvSpPr txBox="1"/>
          <p:nvPr/>
        </p:nvSpPr>
        <p:spPr>
          <a:xfrm>
            <a:off x="457200" y="2060848"/>
            <a:ext cx="5698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Регистрация в системе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s.yandex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1" t="22549" r="23792" b="6017"/>
          <a:stretch/>
        </p:blipFill>
        <p:spPr>
          <a:xfrm>
            <a:off x="5506209" y="3097489"/>
            <a:ext cx="2855286" cy="211042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1" t="16808" r="38575" b="4755"/>
          <a:stretch/>
        </p:blipFill>
        <p:spPr>
          <a:xfrm>
            <a:off x="7168290" y="4035005"/>
            <a:ext cx="2011352" cy="244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8824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750" y="994693"/>
            <a:ext cx="8219256" cy="634082"/>
          </a:xfrm>
        </p:spPr>
        <p:txBody>
          <a:bodyPr>
            <a:no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действий Стандарт действий заместителей директора, методиста по работе в системе управления проектами YouGile в ГБПОУ «</a:t>
            </a:r>
            <a:r>
              <a:rPr lang="ru-RU" sz="18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ьский</a:t>
            </a: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ехникум профессиональных технологий и сервиса имени М.Г. Ганиева»</a:t>
            </a: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5110282"/>
              </p:ext>
            </p:extLst>
          </p:nvPr>
        </p:nvGraphicFramePr>
        <p:xfrm>
          <a:off x="354214" y="1899940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3" t="14984" r="24800" b="9381"/>
          <a:stretch/>
        </p:blipFill>
        <p:spPr>
          <a:xfrm>
            <a:off x="5672412" y="1852962"/>
            <a:ext cx="2890664" cy="240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5856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7F9214-65B7-4DA9-8E70-1F7568E6EF8E}"/>
              </a:ext>
            </a:extLst>
          </p:cNvPr>
          <p:cNvSpPr/>
          <p:nvPr/>
        </p:nvSpPr>
        <p:spPr>
          <a:xfrm>
            <a:off x="821327" y="896173"/>
            <a:ext cx="75013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сылка на сайт  «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Бакальский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техникум профессиональных технологий и сервиса имени М.Г. Ганиев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вкладка Деятельность – Бережливые технологии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B77385-8084-4207-BBF5-649503F53FC8}"/>
              </a:ext>
            </a:extLst>
          </p:cNvPr>
          <p:cNvSpPr txBox="1"/>
          <p:nvPr/>
        </p:nvSpPr>
        <p:spPr>
          <a:xfrm>
            <a:off x="901465" y="1887016"/>
            <a:ext cx="73410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ttp://btptis.ru/berezhlivye-tehnologii/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C175F5-E2D6-41B3-A170-BE220F38CB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42" t="3366" r="1475" b="8746"/>
          <a:stretch/>
        </p:blipFill>
        <p:spPr>
          <a:xfrm>
            <a:off x="570384" y="2543358"/>
            <a:ext cx="8003232" cy="413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93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Объект 16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2972862" y="1600200"/>
            <a:ext cx="3198275" cy="452596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05849" y="612999"/>
            <a:ext cx="4538359" cy="566447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58249" y="765399"/>
            <a:ext cx="4538359" cy="566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762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4</a:t>
            </a:fld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Times New Roman" panose="02020603050405020304" pitchFamily="18" charset="0"/>
                <a:cs typeface="Times New Roman" pitchFamily="18" charset="0"/>
              </a:rPr>
              <a:t>Руководитель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0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0" y="2132856"/>
            <a:ext cx="8568953" cy="43204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4D5BAD9-7B1B-4A69-A572-8788EF9233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79545" y="1112742"/>
            <a:ext cx="1632181" cy="122413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2195736" y="1340768"/>
            <a:ext cx="561662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Котенкова Ольга Демьяновна </a:t>
            </a:r>
            <a:r>
              <a:rPr lang="ru-RU" sz="16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– зам. директора по УВР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ru-RU" dirty="0"/>
          </a:p>
        </p:txBody>
      </p:sp>
      <p:pic>
        <p:nvPicPr>
          <p:cNvPr id="9217" name="Picture 1" descr="C:\Users\User\AppData\Local\Temp\Rar$DRa5372.13931\image-27-11-24-11-33.jpeg"/>
          <p:cNvPicPr>
            <a:picLocks noChangeAspect="1" noChangeArrowheads="1"/>
          </p:cNvPicPr>
          <p:nvPr/>
        </p:nvPicPr>
        <p:blipFill>
          <a:blip r:embed="rId5" cstate="print"/>
          <a:srcRect l="10000"/>
          <a:stretch>
            <a:fillRect/>
          </a:stretch>
        </p:blipFill>
        <p:spPr bwMode="auto">
          <a:xfrm>
            <a:off x="4860032" y="4365104"/>
            <a:ext cx="1368152" cy="1496416"/>
          </a:xfrm>
          <a:prstGeom prst="rect">
            <a:avLst/>
          </a:prstGeom>
          <a:noFill/>
        </p:spPr>
      </p:pic>
      <p:pic>
        <p:nvPicPr>
          <p:cNvPr id="9218" name="Picture 2" descr="C:\Users\User\AppData\Local\Temp\Rar$DRa5372.14980\image-27-11-24-11-33-1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568" y="2780928"/>
            <a:ext cx="1318646" cy="1440160"/>
          </a:xfrm>
          <a:prstGeom prst="rect">
            <a:avLst/>
          </a:prstGeom>
          <a:noFill/>
        </p:spPr>
      </p:pic>
      <p:pic>
        <p:nvPicPr>
          <p:cNvPr id="9219" name="Picture 3" descr="C:\Users\User\AppData\Local\Temp\Rar$DRa5372.15857\image-27-11-24-11-33-2.jpeg"/>
          <p:cNvPicPr>
            <a:picLocks noChangeAspect="1" noChangeArrowheads="1"/>
          </p:cNvPicPr>
          <p:nvPr/>
        </p:nvPicPr>
        <p:blipFill>
          <a:blip r:embed="rId7" cstate="print"/>
          <a:srcRect t="6944"/>
          <a:stretch>
            <a:fillRect/>
          </a:stretch>
        </p:blipFill>
        <p:spPr bwMode="auto">
          <a:xfrm>
            <a:off x="4860032" y="2726254"/>
            <a:ext cx="1204791" cy="1494833"/>
          </a:xfrm>
          <a:prstGeom prst="rect">
            <a:avLst/>
          </a:prstGeom>
          <a:noFill/>
        </p:spPr>
      </p:pic>
      <p:pic>
        <p:nvPicPr>
          <p:cNvPr id="9220" name="Picture 4" descr="C:\Users\User\AppData\Local\Temp\Rar$DRa5372.16646\image-27-11-24-11-33-3.jpe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3568" y="4365104"/>
            <a:ext cx="1297045" cy="1584177"/>
          </a:xfrm>
          <a:prstGeom prst="rect">
            <a:avLst/>
          </a:prstGeom>
          <a:noFill/>
        </p:spPr>
      </p:pic>
      <p:sp>
        <p:nvSpPr>
          <p:cNvPr id="17" name="Прямоугольник 16"/>
          <p:cNvSpPr/>
          <p:nvPr/>
        </p:nvSpPr>
        <p:spPr>
          <a:xfrm>
            <a:off x="2123728" y="2852936"/>
            <a:ext cx="21602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емина Людмила Сергеев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мастер производственного обучения</a:t>
            </a:r>
            <a:endParaRPr lang="ru-RU" sz="16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6372200" y="2708920"/>
            <a:ext cx="237626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Щербатых Нина Викторов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мастер производственного обучения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979712" y="4797152"/>
            <a:ext cx="30243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снякова Александра Алексеев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преподаватель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371184" y="4725144"/>
            <a:ext cx="27728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ханова Наталья Анатольев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преподаватель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210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94321" y="842906"/>
            <a:ext cx="65760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заполнения социального паспорта обучающихся 1 курса ГБПОУ БТПТиС им.М.Г.Ганиева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422034" y="470064"/>
            <a:ext cx="21108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нд по проекту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45490" y="1425777"/>
            <a:ext cx="2684380" cy="18844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/>
          <a:srcRect l="12863" t="11549" r="14356" b="11941"/>
          <a:stretch/>
        </p:blipFill>
        <p:spPr>
          <a:xfrm>
            <a:off x="4229870" y="1407255"/>
            <a:ext cx="3581047" cy="213907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/>
          <a:srcRect l="3547" r="4182"/>
          <a:stretch/>
        </p:blipFill>
        <p:spPr>
          <a:xfrm>
            <a:off x="123844" y="3416319"/>
            <a:ext cx="2291301" cy="208327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34001" y="1421651"/>
            <a:ext cx="1395341" cy="174230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495692" y="3706429"/>
            <a:ext cx="2501764" cy="171485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0" cstate="print"/>
          <a:srcRect l="4587" r="4587" b="4677"/>
          <a:stretch/>
        </p:blipFill>
        <p:spPr>
          <a:xfrm>
            <a:off x="5059195" y="3869282"/>
            <a:ext cx="1862966" cy="144050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983900" y="3850195"/>
            <a:ext cx="2049787" cy="1391336"/>
          </a:xfrm>
          <a:prstGeom prst="rect">
            <a:avLst/>
          </a:prstGeom>
        </p:spPr>
      </p:pic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763688" y="5301208"/>
            <a:ext cx="5940996" cy="1253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9465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07973" y="1407127"/>
            <a:ext cx="482203" cy="302741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1</a:t>
            </a:r>
            <a:r>
              <a:rPr lang="ru-RU" sz="9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5732860"/>
            <a:ext cx="260747" cy="214313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8374816" y="2343976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3880106" y="5629269"/>
            <a:ext cx="34563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250 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416672" y="1716044"/>
          <a:ext cx="1350345" cy="160182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50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98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4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егистрация письм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 МОИН ЧО по заполнению отчета «Оптимизация процесса заполнения социального паспорта обучающихся 1 курса ГБПОУ БТПТиС им.М.Г.Ганиева»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113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  <a:endParaRPr lang="ru-RU" sz="8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/>
          </p:nvPr>
        </p:nvGraphicFramePr>
        <p:xfrm>
          <a:off x="5796568" y="3502496"/>
          <a:ext cx="2946201" cy="155446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46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1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арушение сроков передачи данных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сутствие актуальных данных у классного руководителя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возможность правильно выстроить работу в группе классным руководителем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своевременное принятие управленческих решений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1194" y="1812025"/>
            <a:ext cx="173846" cy="1030001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549624" y="4758872"/>
            <a:ext cx="216024" cy="113412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6740485" y="3205223"/>
            <a:ext cx="133236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1606732" y="3205731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02" name="Пятно 1 60"/>
          <p:cNvSpPr/>
          <p:nvPr/>
        </p:nvSpPr>
        <p:spPr>
          <a:xfrm>
            <a:off x="1667480" y="4531946"/>
            <a:ext cx="48339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462" y="404381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68" y="857250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652900" y="209961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38325" y="608002"/>
            <a:ext cx="6670216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endParaRPr lang="ru-RU" sz="135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50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Оптимизация процесса заполнения социального паспорта обучающихся 1 курса ГБПОУ БТПТиС им.М.Г.Ганиева»</a:t>
            </a:r>
          </a:p>
        </p:txBody>
      </p:sp>
      <p:graphicFrame>
        <p:nvGraphicFramePr>
          <p:cNvPr id="100" name="Таблица 99"/>
          <p:cNvGraphicFramePr>
            <a:graphicFrameLocks noGrp="1"/>
          </p:cNvGraphicFramePr>
          <p:nvPr>
            <p:extLst/>
          </p:nvPr>
        </p:nvGraphicFramePr>
        <p:xfrm>
          <a:off x="2052462" y="2011493"/>
          <a:ext cx="1278567" cy="101437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785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89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сылка входящего письма заму.п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ВР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672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/>
          </p:nvPr>
        </p:nvGraphicFramePr>
        <p:xfrm>
          <a:off x="3655781" y="1998337"/>
          <a:ext cx="1313892" cy="120634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669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.по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72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форму заполнения отчета социальному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едагогу с указанием сроков выполнения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402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/>
          </p:nvPr>
        </p:nvGraphicFramePr>
        <p:xfrm>
          <a:off x="5281760" y="2069917"/>
          <a:ext cx="1313892" cy="107823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форму заполнения отчета классным руководителям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/>
          </p:nvPr>
        </p:nvGraphicFramePr>
        <p:xfrm>
          <a:off x="6965768" y="2047263"/>
          <a:ext cx="1313892" cy="107745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510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540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 со студентов с помощью анкетирования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939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/>
          </p:nvPr>
        </p:nvGraphicFramePr>
        <p:xfrm>
          <a:off x="407024" y="3575426"/>
          <a:ext cx="1313892" cy="107823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работк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бранных данных и составление социального паспорта группы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/>
          </p:nvPr>
        </p:nvGraphicFramePr>
        <p:xfrm>
          <a:off x="2106101" y="3406464"/>
          <a:ext cx="1313892" cy="114216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824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данных социальног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аспорта группы социальному педагогу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/>
          </p:nvPr>
        </p:nvGraphicFramePr>
        <p:xfrm>
          <a:off x="3777956" y="3545762"/>
          <a:ext cx="1313892" cy="9525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яет общую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ведомость социального паспорта техникума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/>
          </p:nvPr>
        </p:nvGraphicFramePr>
        <p:xfrm>
          <a:off x="463747" y="4920566"/>
          <a:ext cx="1313892" cy="9525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ведомость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циального паспорта техникума заму по УВР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1" name="Прямоугольник 110"/>
          <p:cNvSpPr/>
          <p:nvPr/>
        </p:nvSpPr>
        <p:spPr>
          <a:xfrm>
            <a:off x="2397557" y="1707674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2</a:t>
            </a:r>
            <a:r>
              <a:rPr lang="ru-RU" sz="9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4086771" y="169740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3</a:t>
            </a:r>
            <a:r>
              <a:rPr lang="ru-RU" sz="9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5766385" y="176247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4</a:t>
            </a:r>
            <a:r>
              <a:rPr lang="ru-RU" sz="9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7371793" y="1739812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5</a:t>
            </a:r>
            <a:r>
              <a:rPr lang="ru-RU" sz="9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817752" y="3347137"/>
            <a:ext cx="485886" cy="240956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6</a:t>
            </a:r>
            <a:endParaRPr lang="ru-RU" sz="900" b="1" dirty="0"/>
          </a:p>
        </p:txBody>
      </p:sp>
      <p:sp>
        <p:nvSpPr>
          <p:cNvPr id="116" name="Прямоугольник 115"/>
          <p:cNvSpPr/>
          <p:nvPr/>
        </p:nvSpPr>
        <p:spPr>
          <a:xfrm>
            <a:off x="2464359" y="312902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7</a:t>
            </a:r>
            <a:r>
              <a:rPr lang="ru-RU" sz="9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4137177" y="325197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8</a:t>
            </a:r>
            <a:r>
              <a:rPr lang="ru-RU" sz="9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835404" y="4644754"/>
            <a:ext cx="540061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9</a:t>
            </a:r>
            <a:r>
              <a:rPr lang="ru-RU" sz="900" b="1" dirty="0"/>
              <a:t> </a:t>
            </a:r>
          </a:p>
        </p:txBody>
      </p:sp>
      <p:sp>
        <p:nvSpPr>
          <p:cNvPr id="120" name="Стрелка вправо 119"/>
          <p:cNvSpPr/>
          <p:nvPr/>
        </p:nvSpPr>
        <p:spPr>
          <a:xfrm>
            <a:off x="3384557" y="2267405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1" name="Стрелка вправо 120"/>
          <p:cNvSpPr/>
          <p:nvPr/>
        </p:nvSpPr>
        <p:spPr>
          <a:xfrm>
            <a:off x="1785208" y="2260073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 dirty="0"/>
          </a:p>
        </p:txBody>
      </p:sp>
      <p:sp>
        <p:nvSpPr>
          <p:cNvPr id="122" name="Стрелка вправо 121"/>
          <p:cNvSpPr/>
          <p:nvPr/>
        </p:nvSpPr>
        <p:spPr>
          <a:xfrm>
            <a:off x="132842" y="3900868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3" name="Стрелка вправо 122"/>
          <p:cNvSpPr/>
          <p:nvPr/>
        </p:nvSpPr>
        <p:spPr>
          <a:xfrm>
            <a:off x="1791302" y="3876496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4" name="Стрелка вправо 123"/>
          <p:cNvSpPr/>
          <p:nvPr/>
        </p:nvSpPr>
        <p:spPr>
          <a:xfrm>
            <a:off x="128878" y="5230381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3E8E29C4-CB59-4AD5-BE6C-FB04EC62BB9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174966" y="4860839"/>
          <a:ext cx="1271728" cy="102957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71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033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82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циальный паспорт техникума МОИН ЧО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47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" name="Стрелка вправо 45"/>
          <p:cNvSpPr/>
          <p:nvPr/>
        </p:nvSpPr>
        <p:spPr>
          <a:xfrm>
            <a:off x="1830025" y="5222217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8" name="Стрелка вправо 47"/>
          <p:cNvSpPr/>
          <p:nvPr/>
        </p:nvSpPr>
        <p:spPr>
          <a:xfrm>
            <a:off x="5015454" y="2372119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9" name="Стрелка вправо 48"/>
          <p:cNvSpPr/>
          <p:nvPr/>
        </p:nvSpPr>
        <p:spPr>
          <a:xfrm>
            <a:off x="6635439" y="2380764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51" name="Прямоугольник 50"/>
          <p:cNvSpPr/>
          <p:nvPr/>
        </p:nvSpPr>
        <p:spPr>
          <a:xfrm>
            <a:off x="2508627" y="4577282"/>
            <a:ext cx="540061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10</a:t>
            </a:r>
            <a:r>
              <a:rPr lang="ru-RU" sz="900" b="1" dirty="0"/>
              <a:t> </a:t>
            </a:r>
          </a:p>
        </p:txBody>
      </p:sp>
      <p:sp>
        <p:nvSpPr>
          <p:cNvPr id="52" name="Пятно 1 60"/>
          <p:cNvSpPr/>
          <p:nvPr/>
        </p:nvSpPr>
        <p:spPr>
          <a:xfrm>
            <a:off x="6524898" y="1762284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3" name="Пятно 1 60"/>
          <p:cNvSpPr/>
          <p:nvPr/>
        </p:nvSpPr>
        <p:spPr>
          <a:xfrm>
            <a:off x="4954089" y="1713300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4" name="Стрелка вправо 53"/>
          <p:cNvSpPr/>
          <p:nvPr/>
        </p:nvSpPr>
        <p:spPr>
          <a:xfrm>
            <a:off x="3456640" y="3835921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58" name="Стрелка вправо 57"/>
          <p:cNvSpPr/>
          <p:nvPr/>
        </p:nvSpPr>
        <p:spPr>
          <a:xfrm>
            <a:off x="5128696" y="3878862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1865901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07973" y="1407127"/>
            <a:ext cx="482203" cy="302741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1</a:t>
            </a:r>
            <a:r>
              <a:rPr lang="ru-RU" sz="9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5732860"/>
            <a:ext cx="260747" cy="214313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8374816" y="2343976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3880106" y="5629269"/>
            <a:ext cx="34563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250 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416672" y="1716044"/>
          <a:ext cx="1350345" cy="160182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50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98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4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егистрация письм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 МОИН ЧО по заполнению отчета «Оптимизация процесса заполнения социального паспорта обучающихся 1 курса ГБПОУ БТПТиС им.М.Г.Ганиева»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113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  <a:endParaRPr lang="ru-RU" sz="8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/>
          </p:nvPr>
        </p:nvGraphicFramePr>
        <p:xfrm>
          <a:off x="5796568" y="3502496"/>
          <a:ext cx="2946201" cy="155446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46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1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арушение сроков передачи данных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сутствие актуальных данных у классного руководителя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возможность правильно выстроить работу в группе классным руководителем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своевременное принятие управленческих решений</a:t>
                      </a:r>
                      <a:endParaRPr lang="ru-RU" alt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34288" marB="3428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1194" y="1812025"/>
            <a:ext cx="173846" cy="1030001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549624" y="4758872"/>
            <a:ext cx="216024" cy="113412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6740485" y="3205223"/>
            <a:ext cx="133236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1606732" y="3205731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02" name="Пятно 1 60"/>
          <p:cNvSpPr/>
          <p:nvPr/>
        </p:nvSpPr>
        <p:spPr>
          <a:xfrm>
            <a:off x="1667480" y="4531946"/>
            <a:ext cx="48339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462" y="404381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68" y="857250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652900" y="209961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38325" y="608002"/>
            <a:ext cx="6670216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endParaRPr lang="ru-RU" sz="135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50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Оптимизация процесса заполнения социального паспорта обучающихся 1 курса ГБПОУ БТПТиС им.М.Г.Ганиева»</a:t>
            </a:r>
          </a:p>
        </p:txBody>
      </p:sp>
      <p:graphicFrame>
        <p:nvGraphicFramePr>
          <p:cNvPr id="100" name="Таблица 99"/>
          <p:cNvGraphicFramePr>
            <a:graphicFrameLocks noGrp="1"/>
          </p:cNvGraphicFramePr>
          <p:nvPr>
            <p:extLst/>
          </p:nvPr>
        </p:nvGraphicFramePr>
        <p:xfrm>
          <a:off x="2052462" y="2011493"/>
          <a:ext cx="1278567" cy="101437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785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кретарь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89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сылка входящего письма заму.п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ВР</a:t>
                      </a:r>
                      <a:endParaRPr lang="ru-RU" sz="8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672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/>
          </p:nvPr>
        </p:nvGraphicFramePr>
        <p:xfrm>
          <a:off x="3655781" y="1998337"/>
          <a:ext cx="1313892" cy="120634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669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.по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72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форму заполнения отчета социальному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едагогу с указанием сроков выполнения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402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/>
          </p:nvPr>
        </p:nvGraphicFramePr>
        <p:xfrm>
          <a:off x="5281760" y="2069917"/>
          <a:ext cx="1313892" cy="107823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форму заполнения отчета классным руководителям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/>
          </p:nvPr>
        </p:nvGraphicFramePr>
        <p:xfrm>
          <a:off x="6965768" y="2047263"/>
          <a:ext cx="1313892" cy="107745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510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540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 со студентов с помощью анкетирования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939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/>
          </p:nvPr>
        </p:nvGraphicFramePr>
        <p:xfrm>
          <a:off x="407024" y="3575426"/>
          <a:ext cx="1313892" cy="107823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работка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бранных данных и составление социального паспорта группы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/>
          </p:nvPr>
        </p:nvGraphicFramePr>
        <p:xfrm>
          <a:off x="2106101" y="3406464"/>
          <a:ext cx="1313892" cy="114216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824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данных социального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аспорта группы социальному педагогу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/>
          </p:nvPr>
        </p:nvGraphicFramePr>
        <p:xfrm>
          <a:off x="3777956" y="3545762"/>
          <a:ext cx="1313892" cy="9525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яет общую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ведомость социального паспорта техникума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/>
          </p:nvPr>
        </p:nvGraphicFramePr>
        <p:xfrm>
          <a:off x="463747" y="4920566"/>
          <a:ext cx="1313892" cy="9525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13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даг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 ведомость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циального паспорта техникума заму по УВР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sz="8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1" name="Прямоугольник 110"/>
          <p:cNvSpPr/>
          <p:nvPr/>
        </p:nvSpPr>
        <p:spPr>
          <a:xfrm>
            <a:off x="2397557" y="1707674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2</a:t>
            </a:r>
            <a:r>
              <a:rPr lang="ru-RU" sz="9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4086771" y="169740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3</a:t>
            </a:r>
            <a:r>
              <a:rPr lang="ru-RU" sz="9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5766385" y="176247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4</a:t>
            </a:r>
            <a:r>
              <a:rPr lang="ru-RU" sz="9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7371793" y="1739812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5</a:t>
            </a:r>
            <a:r>
              <a:rPr lang="ru-RU" sz="9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817752" y="3347137"/>
            <a:ext cx="485886" cy="240956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6</a:t>
            </a:r>
            <a:endParaRPr lang="ru-RU" sz="900" b="1" dirty="0"/>
          </a:p>
        </p:txBody>
      </p:sp>
      <p:sp>
        <p:nvSpPr>
          <p:cNvPr id="116" name="Прямоугольник 115"/>
          <p:cNvSpPr/>
          <p:nvPr/>
        </p:nvSpPr>
        <p:spPr>
          <a:xfrm>
            <a:off x="2464359" y="312902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7</a:t>
            </a:r>
            <a:r>
              <a:rPr lang="ru-RU" sz="9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4137177" y="3251970"/>
            <a:ext cx="482203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8</a:t>
            </a:r>
            <a:r>
              <a:rPr lang="ru-RU" sz="9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835404" y="4644754"/>
            <a:ext cx="540061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9</a:t>
            </a:r>
            <a:r>
              <a:rPr lang="ru-RU" sz="900" b="1" dirty="0"/>
              <a:t> </a:t>
            </a:r>
          </a:p>
        </p:txBody>
      </p:sp>
      <p:sp>
        <p:nvSpPr>
          <p:cNvPr id="120" name="Стрелка вправо 119"/>
          <p:cNvSpPr/>
          <p:nvPr/>
        </p:nvSpPr>
        <p:spPr>
          <a:xfrm>
            <a:off x="3384557" y="2267405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1" name="Стрелка вправо 120"/>
          <p:cNvSpPr/>
          <p:nvPr/>
        </p:nvSpPr>
        <p:spPr>
          <a:xfrm>
            <a:off x="1785208" y="2260073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 dirty="0"/>
          </a:p>
        </p:txBody>
      </p:sp>
      <p:sp>
        <p:nvSpPr>
          <p:cNvPr id="122" name="Стрелка вправо 121"/>
          <p:cNvSpPr/>
          <p:nvPr/>
        </p:nvSpPr>
        <p:spPr>
          <a:xfrm>
            <a:off x="132842" y="3900868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3" name="Стрелка вправо 122"/>
          <p:cNvSpPr/>
          <p:nvPr/>
        </p:nvSpPr>
        <p:spPr>
          <a:xfrm>
            <a:off x="1791302" y="3876496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24" name="Стрелка вправо 123"/>
          <p:cNvSpPr/>
          <p:nvPr/>
        </p:nvSpPr>
        <p:spPr>
          <a:xfrm>
            <a:off x="128878" y="5230381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3E8E29C4-CB59-4AD5-BE6C-FB04EC62BB9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174966" y="4860839"/>
          <a:ext cx="1271728" cy="102957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71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033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82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ет</a:t>
                      </a: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оциальный паспорт техникума МОИН ЧО</a:t>
                      </a:r>
                      <a:endParaRPr lang="ru-RU" sz="8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47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8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8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34290" marB="3429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" name="Стрелка вправо 45"/>
          <p:cNvSpPr/>
          <p:nvPr/>
        </p:nvSpPr>
        <p:spPr>
          <a:xfrm>
            <a:off x="1830025" y="5222217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8" name="Стрелка вправо 47"/>
          <p:cNvSpPr/>
          <p:nvPr/>
        </p:nvSpPr>
        <p:spPr>
          <a:xfrm>
            <a:off x="5015454" y="2372119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49" name="Стрелка вправо 48"/>
          <p:cNvSpPr/>
          <p:nvPr/>
        </p:nvSpPr>
        <p:spPr>
          <a:xfrm>
            <a:off x="6635439" y="2380764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51" name="Прямоугольник 50"/>
          <p:cNvSpPr/>
          <p:nvPr/>
        </p:nvSpPr>
        <p:spPr>
          <a:xfrm>
            <a:off x="2508627" y="4577282"/>
            <a:ext cx="540061" cy="27027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rgbClr val="002060"/>
                </a:solidFill>
              </a:rPr>
              <a:t>ШАГ 10</a:t>
            </a:r>
            <a:r>
              <a:rPr lang="ru-RU" sz="900" b="1" dirty="0"/>
              <a:t> </a:t>
            </a:r>
          </a:p>
        </p:txBody>
      </p:sp>
      <p:sp>
        <p:nvSpPr>
          <p:cNvPr id="52" name="Пятно 1 60"/>
          <p:cNvSpPr/>
          <p:nvPr/>
        </p:nvSpPr>
        <p:spPr>
          <a:xfrm>
            <a:off x="6524898" y="1762284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3" name="Пятно 1 60"/>
          <p:cNvSpPr/>
          <p:nvPr/>
        </p:nvSpPr>
        <p:spPr>
          <a:xfrm>
            <a:off x="4954089" y="1713300"/>
            <a:ext cx="484585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4" name="Стрелка вправо 53"/>
          <p:cNvSpPr/>
          <p:nvPr/>
        </p:nvSpPr>
        <p:spPr>
          <a:xfrm>
            <a:off x="3456640" y="3835921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58" name="Стрелка вправо 57"/>
          <p:cNvSpPr/>
          <p:nvPr/>
        </p:nvSpPr>
        <p:spPr>
          <a:xfrm>
            <a:off x="5128696" y="3878862"/>
            <a:ext cx="256967" cy="282909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151406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4426675"/>
              </p:ext>
            </p:extLst>
          </p:nvPr>
        </p:nvGraphicFramePr>
        <p:xfrm>
          <a:off x="539552" y="1180449"/>
          <a:ext cx="7272807" cy="5251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32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55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240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0581"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68579" marR="68579" marT="34304" marB="34304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68579" marR="68579" marT="34304" marB="34304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2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90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рушение сроков передачи данных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301" marB="34301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своевременное предоставление данных обучающимися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системы 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нлайн-инструмента 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forms.yandex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ля создания форм и сбора информации.</a:t>
                      </a:r>
                      <a:r>
                        <a:rPr lang="ru-RU" sz="1200" b="0" kern="1200" dirty="0">
                          <a:effectLst/>
                          <a:latin typeface="Times New Roman" pitchFamily="18" charset="0"/>
                          <a:ea typeface="Times New Roman" panose="02020603050405020304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78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актуальных данных у классного руководителя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301" marB="34301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тические изменения личных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анных обучающихся, нет четкого перечня необходимой информации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заполнение в онлайн-инструменте</a:t>
                      </a:r>
                      <a:r>
                        <a:rPr lang="ru-RU" sz="1200" kern="1200" baseline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forms.yandex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 конкретным перечнем необходимой информаци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7285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возможность правильно выстроить работу в группе классным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ям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301" marB="34301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четкого порядка действий при сборе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и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индивидуальное планирование в онлайн-инструменте</a:t>
                      </a:r>
                      <a:r>
                        <a:rPr lang="ru-RU" sz="1200" kern="1200" baseline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о сроками исполнения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6708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200" b="0" kern="12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своевременное приняти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ческих решений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301" marB="34301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менные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ери в процессе сбора информации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ое индивидуальное планирование в онлайн-инструменте</a:t>
                      </a:r>
                      <a:r>
                        <a:rPr lang="ru-RU" sz="1200" kern="1200" baseline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о сроками исполнения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34304" marB="3430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016342" y="818255"/>
            <a:ext cx="359914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907" y="673681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815" y="6431910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883" y="297517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331639" y="403651"/>
            <a:ext cx="2484277" cy="270030"/>
          </a:xfrm>
        </p:spPr>
        <p:txBody>
          <a:bodyPr rtlCol="0">
            <a:noAutofit/>
          </a:bodyPr>
          <a:lstStyle/>
          <a:p>
            <a:pPr algn="just"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9453499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5679281"/>
            <a:ext cx="260747" cy="214313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5884" y="1577235"/>
          <a:ext cx="3375445" cy="38924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769201" y="1982392"/>
            <a:ext cx="2827136" cy="53578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786312" y="3035121"/>
            <a:ext cx="2810024" cy="53578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771159" y="3796393"/>
            <a:ext cx="2899172" cy="17536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рушение сроков передачи данных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сутствие актуальных данных у классного руководителя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alt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возможность правильно выстроить работу в группе классным руководителем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alt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своевременное принятие управленческих решений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873481" y="4614648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629517" y="4986940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320253" y="4662223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882794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2" y="991957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4" y="1248977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1" y="5589240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1455602"/>
            <a:ext cx="359914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2632778" y="4376738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13315104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</TotalTime>
  <Words>1636</Words>
  <Application>Microsoft Office PowerPoint</Application>
  <PresentationFormat>Экран (4:3)</PresentationFormat>
  <Paragraphs>403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0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Достигнутые результаты (было и стало) </vt:lpstr>
      <vt:lpstr>Стандарт действий по работе в онлайн-инструмент forms.yandex,  в  ГБПОУ «Бакальский техникум профессиональных технологий и сервиса имени М.Г. Ганиева»</vt:lpstr>
      <vt:lpstr>Стандарт действий Стандарт действий заместителей директора, методиста по работе в системе управления проектами YouGile в ГБПОУ «Бакальский техникум профессиональных технологий и сервиса имени М.Г. Ганиева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нс</cp:lastModifiedBy>
  <cp:revision>11</cp:revision>
  <dcterms:created xsi:type="dcterms:W3CDTF">2018-08-20T04:01:12Z</dcterms:created>
  <dcterms:modified xsi:type="dcterms:W3CDTF">2024-12-09T11:4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93285e84baf4a1caf88cd7b18733290</vt:lpwstr>
  </property>
</Properties>
</file>